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  <p:sldMasterId id="2147483666" r:id="rId5"/>
    <p:sldMasterId id="2147483665" r:id="rId6"/>
  </p:sldMasterIdLst>
  <p:notesMasterIdLst>
    <p:notesMasterId r:id="rId15"/>
  </p:notesMasterIdLst>
  <p:handoutMasterIdLst>
    <p:handoutMasterId r:id="rId16"/>
  </p:handoutMasterIdLst>
  <p:sldIdLst>
    <p:sldId id="256" r:id="rId7"/>
    <p:sldId id="344" r:id="rId8"/>
    <p:sldId id="471" r:id="rId9"/>
    <p:sldId id="487" r:id="rId10"/>
    <p:sldId id="488" r:id="rId11"/>
    <p:sldId id="482" r:id="rId12"/>
    <p:sldId id="484" r:id="rId13"/>
    <p:sldId id="486" r:id="rId14"/>
  </p:sldIdLst>
  <p:sldSz cx="13442950" cy="7561263"/>
  <p:notesSz cx="7104063" cy="10234613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518A6DE0-5A07-4B92-AB0B-CBE40F1E12B0}">
          <p14:sldIdLst>
            <p14:sldId id="256"/>
          </p14:sldIdLst>
        </p14:section>
        <p14:section name="Seção sem Título" id="{B25D74AB-31B5-4A84-9E5B-036A4CD24A72}">
          <p14:sldIdLst>
            <p14:sldId id="344"/>
            <p14:sldId id="471"/>
            <p14:sldId id="487"/>
            <p14:sldId id="488"/>
            <p14:sldId id="482"/>
            <p14:sldId id="484"/>
            <p14:sldId id="4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46"/>
    <a:srgbClr val="32B9CD"/>
    <a:srgbClr val="292C34"/>
    <a:srgbClr val="272A30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23099-46A7-4167-ACCC-148691D9D4C5}" v="2" dt="2020-08-25T20:02:37.7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howGuides="1">
      <p:cViewPr>
        <p:scale>
          <a:sx n="75" d="100"/>
          <a:sy n="75" d="100"/>
        </p:scale>
        <p:origin x="30" y="774"/>
      </p:cViewPr>
      <p:guideLst>
        <p:guide orient="horz" pos="2382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Barreira" userId="7fd0970c-b3cf-41cb-97a8-b008d4ec6ec9" providerId="ADAL" clId="{7E823099-46A7-4167-ACCC-148691D9D4C5}"/>
    <pc:docChg chg="undo custSel addSld delSld modSld modSection">
      <pc:chgData name="Alex Barreira" userId="7fd0970c-b3cf-41cb-97a8-b008d4ec6ec9" providerId="ADAL" clId="{7E823099-46A7-4167-ACCC-148691D9D4C5}" dt="2020-08-25T20:05:55.156" v="295" actId="14100"/>
      <pc:docMkLst>
        <pc:docMk/>
      </pc:docMkLst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165050812" sldId="279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918936745" sldId="284"/>
        </pc:sldMkLst>
      </pc:sldChg>
      <pc:sldChg chg="addSp delSp modSp mod modClrScheme chgLayout">
        <pc:chgData name="Alex Barreira" userId="7fd0970c-b3cf-41cb-97a8-b008d4ec6ec9" providerId="ADAL" clId="{7E823099-46A7-4167-ACCC-148691D9D4C5}" dt="2020-08-25T20:04:58.876" v="281" actId="20577"/>
        <pc:sldMkLst>
          <pc:docMk/>
          <pc:sldMk cId="948876888" sldId="344"/>
        </pc:sldMkLst>
        <pc:spChg chg="add mod ord">
          <ac:chgData name="Alex Barreira" userId="7fd0970c-b3cf-41cb-97a8-b008d4ec6ec9" providerId="ADAL" clId="{7E823099-46A7-4167-ACCC-148691D9D4C5}" dt="2020-08-25T20:03:11.259" v="120" actId="20577"/>
          <ac:spMkLst>
            <pc:docMk/>
            <pc:sldMk cId="948876888" sldId="344"/>
            <ac:spMk id="2" creationId="{E8B0A577-E3E3-4D35-AA82-89ED5D5451DD}"/>
          </ac:spMkLst>
        </pc:spChg>
        <pc:spChg chg="del mod">
          <ac:chgData name="Alex Barreira" userId="7fd0970c-b3cf-41cb-97a8-b008d4ec6ec9" providerId="ADAL" clId="{7E823099-46A7-4167-ACCC-148691D9D4C5}" dt="2020-08-25T20:03:00.369" v="80" actId="478"/>
          <ac:spMkLst>
            <pc:docMk/>
            <pc:sldMk cId="948876888" sldId="344"/>
            <ac:spMk id="3" creationId="{00000000-0000-0000-0000-000000000000}"/>
          </ac:spMkLst>
        </pc:spChg>
        <pc:spChg chg="add mod ord">
          <ac:chgData name="Alex Barreira" userId="7fd0970c-b3cf-41cb-97a8-b008d4ec6ec9" providerId="ADAL" clId="{7E823099-46A7-4167-ACCC-148691D9D4C5}" dt="2020-08-25T20:04:58.876" v="281" actId="20577"/>
          <ac:spMkLst>
            <pc:docMk/>
            <pc:sldMk cId="948876888" sldId="344"/>
            <ac:spMk id="4" creationId="{C3037102-7C2A-48BA-B19A-E0AB7B0EF163}"/>
          </ac:spMkLst>
        </pc:spChg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512734678" sldId="345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2372785582" sldId="418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2707575184" sldId="419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062672438" sldId="432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361284261" sldId="436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982573965" sldId="440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086979068" sldId="441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930118019" sldId="442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4124287145" sldId="443"/>
        </pc:sldMkLst>
      </pc:sldChg>
      <pc:sldChg chg="modSp add mod">
        <pc:chgData name="Alex Barreira" userId="7fd0970c-b3cf-41cb-97a8-b008d4ec6ec9" providerId="ADAL" clId="{7E823099-46A7-4167-ACCC-148691D9D4C5}" dt="2020-08-25T20:05:55.156" v="295" actId="14100"/>
        <pc:sldMkLst>
          <pc:docMk/>
          <pc:sldMk cId="2008643402" sldId="471"/>
        </pc:sldMkLst>
        <pc:spChg chg="mod">
          <ac:chgData name="Alex Barreira" userId="7fd0970c-b3cf-41cb-97a8-b008d4ec6ec9" providerId="ADAL" clId="{7E823099-46A7-4167-ACCC-148691D9D4C5}" dt="2020-08-25T20:05:17.393" v="283" actId="120"/>
          <ac:spMkLst>
            <pc:docMk/>
            <pc:sldMk cId="2008643402" sldId="471"/>
            <ac:spMk id="3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6" creationId="{70825C6F-9257-4CF5-8C62-1CA1EB2F8815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7" creationId="{DD175998-7BC4-48E7-B48B-3AD3DB555BC2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" creationId="{5CE7D08C-795B-4BF1-97F6-F9773F4E9F4C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9" creationId="{B60B13C9-0C70-4C0F-82B2-D0CD4FDFC1F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10" creationId="{2C0D7151-D7C4-4C3E-8608-61515AFD4BD7}"/>
          </ac:spMkLst>
        </pc:spChg>
        <pc:spChg chg="mod">
          <ac:chgData name="Alex Barreira" userId="7fd0970c-b3cf-41cb-97a8-b008d4ec6ec9" providerId="ADAL" clId="{7E823099-46A7-4167-ACCC-148691D9D4C5}" dt="2020-08-25T20:05:55.156" v="295" actId="14100"/>
          <ac:spMkLst>
            <pc:docMk/>
            <pc:sldMk cId="2008643402" sldId="471"/>
            <ac:spMk id="73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78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0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2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4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6" creationId="{00000000-0000-0000-0000-000000000000}"/>
          </ac:spMkLst>
        </pc:s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77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79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1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3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5" creationId="{00000000-0000-0000-0000-000000000000}"/>
          </ac:grpSpMkLst>
        </pc:grpChg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3103146409" sldId="482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671586173" sldId="484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2606422970" sldId="486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1936218586" sldId="487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1935154534" sldId="488"/>
        </pc:sldMkLst>
      </pc:sldChg>
      <pc:sldChg chg="new del">
        <pc:chgData name="Alex Barreira" userId="7fd0970c-b3cf-41cb-97a8-b008d4ec6ec9" providerId="ADAL" clId="{7E823099-46A7-4167-ACCC-148691D9D4C5}" dt="2020-08-25T20:05:11.190" v="282" actId="47"/>
        <pc:sldMkLst>
          <pc:docMk/>
          <pc:sldMk cId="3110969077" sldId="489"/>
        </pc:sldMkLst>
      </pc:sldChg>
      <pc:sldChg chg="add del">
        <pc:chgData name="Alex Barreira" userId="7fd0970c-b3cf-41cb-97a8-b008d4ec6ec9" providerId="ADAL" clId="{7E823099-46A7-4167-ACCC-148691D9D4C5}" dt="2020-08-25T20:02:40.323" v="78" actId="47"/>
        <pc:sldMkLst>
          <pc:docMk/>
          <pc:sldMk cId="918598423" sldId="490"/>
        </pc:sldMkLst>
      </pc:sldChg>
      <pc:sldChg chg="new del">
        <pc:chgData name="Alex Barreira" userId="7fd0970c-b3cf-41cb-97a8-b008d4ec6ec9" providerId="ADAL" clId="{7E823099-46A7-4167-ACCC-148691D9D4C5}" dt="2020-08-25T20:04:15.801" v="248" actId="47"/>
        <pc:sldMkLst>
          <pc:docMk/>
          <pc:sldMk cId="4073518245" sldId="490"/>
        </pc:sldMkLst>
      </pc:sldChg>
      <pc:sldMasterChg chg="delSldLayout">
        <pc:chgData name="Alex Barreira" userId="7fd0970c-b3cf-41cb-97a8-b008d4ec6ec9" providerId="ADAL" clId="{7E823099-46A7-4167-ACCC-148691D9D4C5}" dt="2020-08-25T20:00:58.566" v="0" actId="47"/>
        <pc:sldMasterMkLst>
          <pc:docMk/>
          <pc:sldMasterMk cId="0" sldId="2147483656"/>
        </pc:sldMasterMkLst>
        <pc:sldLayoutChg chg="del">
          <pc:chgData name="Alex Barreira" userId="7fd0970c-b3cf-41cb-97a8-b008d4ec6ec9" providerId="ADAL" clId="{7E823099-46A7-4167-ACCC-148691D9D4C5}" dt="2020-08-25T20:00:58.566" v="0" actId="47"/>
          <pc:sldLayoutMkLst>
            <pc:docMk/>
            <pc:sldMasterMk cId="0" sldId="2147483656"/>
            <pc:sldLayoutMk cId="3154182865" sldId="2147483667"/>
          </pc:sldLayoutMkLst>
        </pc:sldLayoutChg>
        <pc:sldLayoutChg chg="del">
          <pc:chgData name="Alex Barreira" userId="7fd0970c-b3cf-41cb-97a8-b008d4ec6ec9" providerId="ADAL" clId="{7E823099-46A7-4167-ACCC-148691D9D4C5}" dt="2020-08-25T20:00:58.566" v="0" actId="47"/>
          <pc:sldLayoutMkLst>
            <pc:docMk/>
            <pc:sldMasterMk cId="0" sldId="2147483656"/>
            <pc:sldLayoutMk cId="3084922465" sldId="2147483668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C3CD65D1-5C11-455D-9F9A-0E035F00A0DA}" type="datetimeFigureOut">
              <a:rPr lang="pt-BR" smtClean="0"/>
              <a:pPr/>
              <a:t>28/09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05DA3EF-18EA-43DE-B1BB-402A3C558822}" type="datetimeFigureOut">
              <a:rPr lang="pt-BR" smtClean="0"/>
              <a:pPr/>
              <a:t>28/09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37245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6992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68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7119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5794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431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431" cy="1750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0699" y="61263"/>
            <a:ext cx="12154667" cy="593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9138" tIns="59570" rIns="119138" bIns="59570" anchor="ctr"/>
          <a:lstStyle/>
          <a:p>
            <a:pPr defTabSz="12451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3087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28360" y="1324973"/>
            <a:ext cx="12936686" cy="31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446781" indent="-446781" defTabSz="1245197" eaLnBrk="0" fontAlgn="base" hangingPunct="0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Tx/>
              <a:buChar char="•"/>
              <a:defRPr/>
            </a:pPr>
            <a:endParaRPr lang="pt-BR" sz="2058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261229" y="23032"/>
            <a:ext cx="12154667" cy="422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043" tIns="40522" rIns="81043" bIns="40522" numCol="1" anchor="ctr" anchorCtr="0" compatLnSpc="1">
            <a:prstTxWarp prst="textNoShape">
              <a:avLst/>
            </a:prstTxWarp>
          </a:bodyPr>
          <a:lstStyle>
            <a:lvl1pPr algn="l" defTabSz="1213525" rtl="0" fontAlgn="base">
              <a:spcBef>
                <a:spcPct val="0"/>
              </a:spcBef>
              <a:spcAft>
                <a:spcPct val="0"/>
              </a:spcAft>
              <a:defRPr lang="pt-BR" sz="1764" b="0" i="0" kern="1200" baseline="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pt-BR" dirty="0"/>
              <a:t>CLIQUE PARA EDITAR O ESTILO DO TÍTUL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390148" y="444575"/>
            <a:ext cx="12074195" cy="2940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pt-BR" sz="1911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+mj-cs"/>
              </a:defRPr>
            </a:lvl1pPr>
            <a:lvl2pPr marL="2068" indent="0">
              <a:buNone/>
              <a:defRPr/>
            </a:lvl2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Slide Number Placeholder 1"/>
          <p:cNvSpPr txBox="1">
            <a:spLocks/>
          </p:cNvSpPr>
          <p:nvPr userDrawn="1"/>
        </p:nvSpPr>
        <p:spPr bwMode="auto">
          <a:xfrm>
            <a:off x="12979487" y="7251315"/>
            <a:ext cx="676815" cy="40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543D946-5134-1748-A050-11636790511E}" type="slidenum">
              <a:rPr lang="en-US" sz="1617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617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90781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74910" y="392971"/>
            <a:ext cx="7592995" cy="2859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5292"/>
              </a:lnSpc>
              <a:defRPr sz="5292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721447" y="6871717"/>
            <a:ext cx="3138663" cy="40256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70" baseline="0">
                <a:solidFill>
                  <a:srgbClr val="4D4D4D"/>
                </a:solidFill>
              </a:defRPr>
            </a:lvl1pPr>
          </a:lstStyle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74909" y="3455786"/>
            <a:ext cx="7592995" cy="89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58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22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828982" y="1331914"/>
            <a:ext cx="8779933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48" y="1692534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4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200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05782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7082695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257" y="6045645"/>
            <a:ext cx="3002349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39443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986" y="6142225"/>
            <a:ext cx="2440941" cy="7235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6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3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3" y="2138328"/>
            <a:ext cx="2263663" cy="670977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0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0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5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313" y="1591737"/>
            <a:ext cx="2263663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8" y="248200"/>
            <a:ext cx="12098655" cy="977831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8233"/>
              </a:lnSpc>
              <a:spcAft>
                <a:spcPct val="0"/>
              </a:spcAft>
            </a:pPr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70802" y="7189201"/>
            <a:ext cx="672148" cy="3175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2148" y="148850"/>
            <a:ext cx="5246360" cy="25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endParaRPr lang="pt-BR" dirty="0">
              <a:solidFill>
                <a:srgbClr val="4D4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539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  <p:sldLayoutId id="2147483667" r:id="rId9"/>
    <p:sldLayoutId id="2147483668" r:id="rId10"/>
    <p:sldLayoutId id="2147483669" r:id="rId11"/>
  </p:sldLayoutIdLst>
  <p:hf hdr="0" ftr="0" dt="0"/>
  <p:txStyles>
    <p:titleStyle>
      <a:lvl1pPr algn="ctr" defTabSz="1043056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483" indent="-325955" algn="l" defTabSz="1043056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82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48" indent="-260764" algn="l" defTabSz="1043056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876" indent="-260764" algn="l" defTabSz="1043056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="" xmlns:a16="http://schemas.microsoft.com/office/drawing/2014/main" id="{E8B0A577-E3E3-4D35-AA82-89ED5D5451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Reunião Semanal 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C3037102-7C2A-48BA-B19A-E0AB7B0EF1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/>
              <a:t>Status </a:t>
            </a:r>
            <a:r>
              <a:rPr lang="pt-BR" dirty="0" err="1"/>
              <a:t>Report</a:t>
            </a:r>
            <a:r>
              <a:rPr lang="pt-BR" dirty="0"/>
              <a:t> do Projeto </a:t>
            </a:r>
          </a:p>
          <a:p>
            <a:r>
              <a:rPr lang="pt-BR" dirty="0"/>
              <a:t>&lt; </a:t>
            </a:r>
            <a:r>
              <a:rPr lang="pt-BR" dirty="0" err="1" smtClean="0"/>
              <a:t>GOTravel</a:t>
            </a:r>
            <a:r>
              <a:rPr lang="pt-BR" dirty="0" smtClean="0"/>
              <a:t>!&gt; </a:t>
            </a:r>
            <a:endParaRPr lang="pt-BR" dirty="0"/>
          </a:p>
          <a:p>
            <a:r>
              <a:rPr lang="pt-BR" dirty="0"/>
              <a:t>Data: </a:t>
            </a:r>
            <a:r>
              <a:rPr lang="pt-BR" dirty="0" smtClean="0"/>
              <a:t>28/09/2020</a:t>
            </a:r>
          </a:p>
          <a:p>
            <a:r>
              <a:rPr lang="pt-BR" dirty="0" smtClean="0"/>
              <a:t>Professor</a:t>
            </a:r>
            <a:r>
              <a:rPr lang="pt-BR" dirty="0"/>
              <a:t>.: Alexander Barreir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48876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804883" y="1106495"/>
            <a:ext cx="6209639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defTabSz="672130">
              <a:spcAft>
                <a:spcPts val="882"/>
              </a:spcAft>
            </a:pPr>
            <a:endParaRPr lang="pt-BR" sz="147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692" y="185232"/>
            <a:ext cx="12098020" cy="800352"/>
          </a:xfrm>
        </p:spPr>
        <p:txBody>
          <a:bodyPr vert="horz" wrap="square" lIns="105844" tIns="0" rIns="105844" bIns="0" numCol="1" anchor="t" anchorCtr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882"/>
              </a:spcAft>
            </a:pP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S</a:t>
            </a:r>
            <a:r>
              <a:rPr lang="en-US" sz="2646" dirty="0" smtClean="0">
                <a:solidFill>
                  <a:prstClr val="black"/>
                </a:solidFill>
                <a:latin typeface="Simplon Oi Headline"/>
                <a:cs typeface="Simplon Oi Headline"/>
              </a:rPr>
              <a:t>tatus </a:t>
            </a:r>
            <a:r>
              <a:rPr lang="en-US" sz="2646" dirty="0" err="1" smtClean="0">
                <a:solidFill>
                  <a:prstClr val="black"/>
                </a:solidFill>
                <a:latin typeface="Simplon Oi Headline"/>
                <a:cs typeface="Simplon Oi Headline"/>
              </a:rPr>
              <a:t>geral</a:t>
            </a:r>
            <a:r>
              <a:rPr lang="en-US" sz="2646" dirty="0" smtClean="0">
                <a:solidFill>
                  <a:prstClr val="black"/>
                </a:solidFill>
                <a:latin typeface="Simplon Oi Headline"/>
                <a:cs typeface="Simplon Oi Headline"/>
              </a:rPr>
              <a:t> – </a:t>
            </a:r>
            <a:r>
              <a:rPr lang="en-US" sz="2646" dirty="0" err="1" smtClean="0">
                <a:solidFill>
                  <a:prstClr val="black"/>
                </a:solidFill>
                <a:latin typeface="Simplon Oi Headline"/>
                <a:cs typeface="Simplon Oi Headline"/>
              </a:rPr>
              <a:t>GOTravel</a:t>
            </a:r>
            <a:r>
              <a:rPr lang="en-US" sz="2646" dirty="0" smtClean="0">
                <a:solidFill>
                  <a:prstClr val="black"/>
                </a:solidFill>
                <a:latin typeface="Simplon Oi Headline"/>
                <a:cs typeface="Simplon Oi Headline"/>
              </a:rPr>
              <a:t>!</a:t>
            </a:r>
            <a:endParaRPr lang="en-US" sz="2646" dirty="0">
              <a:solidFill>
                <a:prstClr val="black"/>
              </a:solidFill>
              <a:latin typeface="Simplon Oi Headline"/>
              <a:cs typeface="Simplon Oi Headline"/>
            </a:endParaRPr>
          </a:p>
        </p:txBody>
      </p:sp>
      <p:sp>
        <p:nvSpPr>
          <p:cNvPr id="73" name="Round Same Side Corner Rectangle 3"/>
          <p:cNvSpPr/>
          <p:nvPr/>
        </p:nvSpPr>
        <p:spPr>
          <a:xfrm rot="10800000">
            <a:off x="7873603" y="64321"/>
            <a:ext cx="5103602" cy="689698"/>
          </a:xfrm>
          <a:prstGeom prst="round2SameRect">
            <a:avLst>
              <a:gd name="adj1" fmla="val 1056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77" name="Group 9"/>
          <p:cNvGrpSpPr/>
          <p:nvPr/>
        </p:nvGrpSpPr>
        <p:grpSpPr>
          <a:xfrm>
            <a:off x="11822773" y="245656"/>
            <a:ext cx="899678" cy="316238"/>
            <a:chOff x="6694192" y="85799"/>
            <a:chExt cx="612000" cy="215119"/>
          </a:xfrm>
        </p:grpSpPr>
        <p:sp>
          <p:nvSpPr>
            <p:cNvPr id="111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3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8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78" name="TextBox 118"/>
          <p:cNvSpPr txBox="1"/>
          <p:nvPr/>
        </p:nvSpPr>
        <p:spPr>
          <a:xfrm>
            <a:off x="11822773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Documentação</a:t>
            </a:r>
          </a:p>
        </p:txBody>
      </p:sp>
      <p:grpSp>
        <p:nvGrpSpPr>
          <p:cNvPr id="79" name="Group 8"/>
          <p:cNvGrpSpPr/>
          <p:nvPr/>
        </p:nvGrpSpPr>
        <p:grpSpPr>
          <a:xfrm>
            <a:off x="10852497" y="245656"/>
            <a:ext cx="899678" cy="316238"/>
            <a:chOff x="6034168" y="85799"/>
            <a:chExt cx="612000" cy="215119"/>
          </a:xfrm>
        </p:grpSpPr>
        <p:sp>
          <p:nvSpPr>
            <p:cNvPr id="107" name="Rounded Rectangle 122"/>
            <p:cNvSpPr/>
            <p:nvPr/>
          </p:nvSpPr>
          <p:spPr>
            <a:xfrm>
              <a:off x="603416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8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9" name="Oval 120"/>
            <p:cNvSpPr>
              <a:spLocks noChangeAspect="1"/>
            </p:cNvSpPr>
            <p:nvPr/>
          </p:nvSpPr>
          <p:spPr>
            <a:xfrm>
              <a:off x="6266404" y="121358"/>
              <a:ext cx="143806" cy="144000"/>
            </a:xfrm>
            <a:prstGeom prst="ellipse">
              <a:avLst/>
            </a:prstGeom>
            <a:solidFill>
              <a:srgbClr val="FFC000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0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0" name="TextBox 123"/>
          <p:cNvSpPr txBox="1"/>
          <p:nvPr/>
        </p:nvSpPr>
        <p:spPr>
          <a:xfrm>
            <a:off x="10852497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Plataforma</a:t>
            </a:r>
          </a:p>
        </p:txBody>
      </p:sp>
      <p:grpSp>
        <p:nvGrpSpPr>
          <p:cNvPr id="81" name="Group 7"/>
          <p:cNvGrpSpPr/>
          <p:nvPr/>
        </p:nvGrpSpPr>
        <p:grpSpPr>
          <a:xfrm>
            <a:off x="9891915" y="245656"/>
            <a:ext cx="899678" cy="316238"/>
            <a:chOff x="5380738" y="85799"/>
            <a:chExt cx="612000" cy="215119"/>
          </a:xfrm>
        </p:grpSpPr>
        <p:sp>
          <p:nvSpPr>
            <p:cNvPr id="103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4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5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6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2" name="TextBox 128"/>
          <p:cNvSpPr txBox="1"/>
          <p:nvPr/>
        </p:nvSpPr>
        <p:spPr>
          <a:xfrm>
            <a:off x="9891915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Back</a:t>
            </a:r>
          </a:p>
        </p:txBody>
      </p:sp>
      <p:grpSp>
        <p:nvGrpSpPr>
          <p:cNvPr id="83" name="Group 6"/>
          <p:cNvGrpSpPr/>
          <p:nvPr/>
        </p:nvGrpSpPr>
        <p:grpSpPr>
          <a:xfrm>
            <a:off x="8934246" y="245656"/>
            <a:ext cx="899678" cy="316238"/>
            <a:chOff x="4729290" y="85799"/>
            <a:chExt cx="612000" cy="215119"/>
          </a:xfrm>
        </p:grpSpPr>
        <p:sp>
          <p:nvSpPr>
            <p:cNvPr id="91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0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2" name="Oval 131"/>
            <p:cNvSpPr>
              <a:spLocks noChangeAspect="1"/>
            </p:cNvSpPr>
            <p:nvPr/>
          </p:nvSpPr>
          <p:spPr>
            <a:xfrm>
              <a:off x="5143619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4" name="TextBox 133"/>
          <p:cNvSpPr txBox="1"/>
          <p:nvPr/>
        </p:nvSpPr>
        <p:spPr>
          <a:xfrm>
            <a:off x="8934246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Front</a:t>
            </a:r>
          </a:p>
        </p:txBody>
      </p:sp>
      <p:grpSp>
        <p:nvGrpSpPr>
          <p:cNvPr id="85" name="Group 5"/>
          <p:cNvGrpSpPr/>
          <p:nvPr/>
        </p:nvGrpSpPr>
        <p:grpSpPr>
          <a:xfrm>
            <a:off x="7970611" y="245656"/>
            <a:ext cx="899678" cy="316238"/>
            <a:chOff x="4073784" y="85799"/>
            <a:chExt cx="612000" cy="215119"/>
          </a:xfrm>
        </p:grpSpPr>
        <p:sp>
          <p:nvSpPr>
            <p:cNvPr id="8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6" name="TextBox 138"/>
          <p:cNvSpPr txBox="1"/>
          <p:nvPr/>
        </p:nvSpPr>
        <p:spPr>
          <a:xfrm>
            <a:off x="8015738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Equipe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12766" y="868345"/>
            <a:ext cx="6186608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en-US" sz="1544" dirty="0">
                <a:latin typeface="Simplon Oi Headline" charset="0"/>
                <a:ea typeface="Simplon Oi Headline" charset="0"/>
                <a:cs typeface="Simplon Oi Headline" charset="0"/>
              </a:rPr>
              <a:t>PROGRESSOS</a:t>
            </a:r>
            <a:endParaRPr lang="pt-BR" sz="1544" dirty="0"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6814576" y="868345"/>
            <a:ext cx="6194715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ontos atenção/ Principais Riscos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07536" y="3418875"/>
            <a:ext cx="12505521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róximos Passos/ Decisões a tomar</a:t>
            </a:r>
          </a:p>
        </p:txBody>
      </p:sp>
      <p:sp>
        <p:nvSpPr>
          <p:cNvPr id="63" name="Rectangle 37"/>
          <p:cNvSpPr/>
          <p:nvPr/>
        </p:nvSpPr>
        <p:spPr>
          <a:xfrm>
            <a:off x="496765" y="1106495"/>
            <a:ext cx="6207777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O que foi superado na </a:t>
            </a:r>
            <a:r>
              <a:rPr lang="pt-BR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última </a:t>
            </a:r>
            <a:r>
              <a:rPr lang="pt-BR" sz="20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semana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classe concluíd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Iniciado a aplicação Java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Iniciado o desenvolvimento das telas em </a:t>
            </a:r>
            <a:r>
              <a:rPr lang="pt-BR" sz="1323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React</a:t>
            </a:r>
            <a:endParaRPr lang="pt-BR" sz="1323" b="1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log</a:t>
            </a: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atualizad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cionário de dados feito</a:t>
            </a:r>
          </a:p>
          <a:p>
            <a:pPr fontAlgn="base">
              <a:spcBef>
                <a:spcPct val="0"/>
              </a:spcBef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844996" y="1121895"/>
            <a:ext cx="6164295" cy="1317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latin typeface="Calibri" panose="020F0502020204030204" pitchFamily="34" charset="0"/>
                <a:cs typeface="Simplon BP Regular"/>
              </a:rPr>
              <a:t>Pontos de riscos ou assuntos que devem ser resolvidos com urgência para o bom andamento do </a:t>
            </a:r>
            <a:r>
              <a:rPr lang="pt-BR" sz="2000" b="1" dirty="0" smtClean="0">
                <a:latin typeface="Calibri" panose="020F0502020204030204" pitchFamily="34" charset="0"/>
                <a:cs typeface="Simplon BP Regular"/>
              </a:rPr>
              <a:t>projeto</a:t>
            </a:r>
          </a:p>
          <a:p>
            <a:pPr marL="342900" indent="-34290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0" b="1" dirty="0" err="1" smtClean="0">
                <a:latin typeface="Calibri" panose="020F0502020204030204" pitchFamily="34" charset="0"/>
                <a:cs typeface="Simplon BP Regular"/>
              </a:rPr>
              <a:t>Api</a:t>
            </a:r>
            <a:r>
              <a:rPr lang="pt-BR" sz="1320" b="1" dirty="0" smtClean="0">
                <a:latin typeface="Calibri" panose="020F0502020204030204" pitchFamily="34" charset="0"/>
                <a:cs typeface="Simplon BP Regular"/>
              </a:rPr>
              <a:t> do Google </a:t>
            </a:r>
            <a:r>
              <a:rPr lang="pt-BR" sz="1320" b="1" dirty="0" err="1" smtClean="0">
                <a:latin typeface="Calibri" panose="020F0502020204030204" pitchFamily="34" charset="0"/>
                <a:cs typeface="Simplon BP Regular"/>
              </a:rPr>
              <a:t>Maps</a:t>
            </a:r>
            <a:endParaRPr lang="pt-BR" sz="1320" b="1" dirty="0" smtClean="0">
              <a:latin typeface="Calibri" panose="020F0502020204030204" pitchFamily="34" charset="0"/>
              <a:cs typeface="Simplon BP Regular"/>
            </a:endParaRPr>
          </a:p>
          <a:p>
            <a:pPr marL="342900" indent="-34290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0" b="1" dirty="0"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pt-BR" sz="1323" b="1" dirty="0"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2" name="Rectangle 43">
            <a:extLst>
              <a:ext uri="{FF2B5EF4-FFF2-40B4-BE49-F238E27FC236}">
                <a16:creationId xmlns="" xmlns:a16="http://schemas.microsoft.com/office/drawing/2014/main" id="{B15BA19F-C787-4E6A-ADAB-C0DFF09C66A8}"/>
              </a:ext>
            </a:extLst>
          </p:cNvPr>
          <p:cNvSpPr>
            <a:spLocks/>
          </p:cNvSpPr>
          <p:nvPr/>
        </p:nvSpPr>
        <p:spPr>
          <a:xfrm>
            <a:off x="512766" y="3728204"/>
            <a:ext cx="12496524" cy="35814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tIns="105844" numCol="3" rtlCol="0" anchor="ctr"/>
          <a:lstStyle/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Plataforma</a:t>
            </a:r>
          </a:p>
          <a:p>
            <a:pPr marL="252049" lvl="1" indent="-252049" defTabSz="672130">
              <a:buFont typeface="Wingdings" charset="2"/>
              <a:buChar char="§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Subir a aplicação Spring no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Heroku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</a:t>
            </a:r>
            <a:r>
              <a:rPr lang="pt-BR" sz="1323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end</a:t>
            </a: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Validação de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login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/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Front </a:t>
            </a:r>
            <a:r>
              <a:rPr lang="pt-BR" sz="1323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nd</a:t>
            </a:r>
            <a:endParaRPr lang="pt-BR" sz="1323" b="1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Término dos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wireframes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ontinuação do desenvolvimento da tela Homepage em </a:t>
            </a: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R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act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Inicio do desenvolvimento das telas de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login</a:t>
            </a: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</a:t>
            </a:r>
            <a:r>
              <a:rPr lang="pt-BR" sz="1323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 cadastro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Documentaçã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PMN –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low</a:t>
            </a: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do usuário – entrega para o professor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</a:t>
            </a: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stad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Timeline</a:t>
            </a:r>
            <a:r>
              <a:rPr lang="pt-BR" sz="1323" dirty="0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da </a:t>
            </a:r>
            <a:r>
              <a:rPr lang="pt-BR" sz="1323" dirty="0" err="1" smtClean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sprint</a:t>
            </a: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 smtClean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7" name="Oval 129">
            <a:extLst>
              <a:ext uri="{FF2B5EF4-FFF2-40B4-BE49-F238E27FC236}">
                <a16:creationId xmlns="" xmlns:a16="http://schemas.microsoft.com/office/drawing/2014/main" id="{DD175998-7BC4-48E7-B48B-3AD3DB555BC2}"/>
              </a:ext>
            </a:extLst>
          </p:cNvPr>
          <p:cNvSpPr>
            <a:spLocks noChangeAspect="1"/>
          </p:cNvSpPr>
          <p:nvPr/>
        </p:nvSpPr>
        <p:spPr>
          <a:xfrm>
            <a:off x="9301036" y="309722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TextBox 138">
            <a:extLst>
              <a:ext uri="{FF2B5EF4-FFF2-40B4-BE49-F238E27FC236}">
                <a16:creationId xmlns="" xmlns:a16="http://schemas.microsoft.com/office/drawing/2014/main" id="{5CE7D08C-795B-4BF1-97F6-F9773F4E9F4C}"/>
              </a:ext>
            </a:extLst>
          </p:cNvPr>
          <p:cNvSpPr txBox="1"/>
          <p:nvPr/>
        </p:nvSpPr>
        <p:spPr>
          <a:xfrm>
            <a:off x="9927214" y="83089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Farol</a:t>
            </a:r>
            <a:r>
              <a:rPr lang="en-US" sz="1176" b="0" dirty="0">
                <a:solidFill>
                  <a:prstClr val="black"/>
                </a:solidFill>
                <a:latin typeface="Simplon BP Bold" pitchFamily="2" charset="0"/>
              </a:rPr>
              <a:t> do </a:t>
            </a:r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Projeto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10" name="Oval 114">
            <a:extLst>
              <a:ext uri="{FF2B5EF4-FFF2-40B4-BE49-F238E27FC236}">
                <a16:creationId xmlns="" xmlns:a16="http://schemas.microsoft.com/office/drawing/2014/main" id="{2C0D7151-D7C4-4C3E-8608-61515AFD4BD7}"/>
              </a:ext>
            </a:extLst>
          </p:cNvPr>
          <p:cNvSpPr>
            <a:spLocks noChangeAspect="1"/>
          </p:cNvSpPr>
          <p:nvPr/>
        </p:nvSpPr>
        <p:spPr>
          <a:xfrm>
            <a:off x="11878494" y="309722"/>
            <a:ext cx="211404" cy="211689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4" name="Oval 124"/>
          <p:cNvSpPr>
            <a:spLocks noChangeAspect="1"/>
          </p:cNvSpPr>
          <p:nvPr/>
        </p:nvSpPr>
        <p:spPr>
          <a:xfrm>
            <a:off x="9013140" y="297930"/>
            <a:ext cx="211404" cy="211689"/>
          </a:xfrm>
          <a:prstGeom prst="ellipse">
            <a:avLst/>
          </a:prstGeom>
          <a:solidFill>
            <a:srgbClr val="1BCF1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Oval 120"/>
          <p:cNvSpPr>
            <a:spLocks noChangeAspect="1"/>
          </p:cNvSpPr>
          <p:nvPr/>
        </p:nvSpPr>
        <p:spPr>
          <a:xfrm>
            <a:off x="12164174" y="309722"/>
            <a:ext cx="211404" cy="21168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864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=""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=""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=""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=""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>
                <a:solidFill>
                  <a:prstClr val="black"/>
                </a:solidFill>
                <a:latin typeface="Calibri" panose="020F0502020204030204" pitchFamily="34" charset="0"/>
              </a:rPr>
              <a:t>Front </a:t>
            </a:r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=""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=""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=""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=""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62185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=""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=""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=""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=""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Back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=""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=""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=""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=""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15453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20"/>
          <p:cNvSpPr>
            <a:spLocks noChangeArrowheads="1"/>
          </p:cNvSpPr>
          <p:nvPr/>
        </p:nvSpPr>
        <p:spPr bwMode="auto">
          <a:xfrm>
            <a:off x="12462383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7" name="Rectangle 20"/>
          <p:cNvSpPr>
            <a:spLocks noChangeArrowheads="1"/>
          </p:cNvSpPr>
          <p:nvPr/>
        </p:nvSpPr>
        <p:spPr bwMode="auto">
          <a:xfrm>
            <a:off x="10709558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8" name="Rectangle 70"/>
          <p:cNvSpPr>
            <a:spLocks noChangeArrowheads="1"/>
          </p:cNvSpPr>
          <p:nvPr/>
        </p:nvSpPr>
        <p:spPr bwMode="auto">
          <a:xfrm>
            <a:off x="11585971" y="2027832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260886" y="16153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  <a:buClr>
                <a:prstClr val="black"/>
              </a:buClr>
            </a:pP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Exemplo 2 de </a:t>
            </a:r>
            <a:r>
              <a:rPr lang="pt-BR" sz="2646" dirty="0" err="1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Timeline</a:t>
            </a: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 para o projeto por semana</a:t>
            </a:r>
            <a:endParaRPr lang="en-US" sz="2646" dirty="0">
              <a:solidFill>
                <a:prstClr val="black"/>
              </a:solidFill>
              <a:latin typeface="Simplon Oi Headline" pitchFamily="2" charset="0"/>
              <a:cs typeface="Arial" panose="020B0604020202020204" pitchFamily="34" charset="0"/>
            </a:endParaRPr>
          </a:p>
        </p:txBody>
      </p:sp>
      <p:sp>
        <p:nvSpPr>
          <p:cNvPr id="74" name="Rectangle 20"/>
          <p:cNvSpPr>
            <a:spLocks noChangeArrowheads="1"/>
          </p:cNvSpPr>
          <p:nvPr/>
        </p:nvSpPr>
        <p:spPr bwMode="auto">
          <a:xfrm>
            <a:off x="167688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5" name="Rectangle 70"/>
          <p:cNvSpPr>
            <a:spLocks noChangeArrowheads="1"/>
          </p:cNvSpPr>
          <p:nvPr/>
        </p:nvSpPr>
        <p:spPr bwMode="auto">
          <a:xfrm>
            <a:off x="1060461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7" name="Rectangle 20"/>
          <p:cNvSpPr>
            <a:spLocks noChangeArrowheads="1"/>
          </p:cNvSpPr>
          <p:nvPr/>
        </p:nvSpPr>
        <p:spPr bwMode="auto">
          <a:xfrm>
            <a:off x="1920513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8" name="Rectangle 70"/>
          <p:cNvSpPr>
            <a:spLocks noChangeArrowheads="1"/>
          </p:cNvSpPr>
          <p:nvPr/>
        </p:nvSpPr>
        <p:spPr bwMode="auto">
          <a:xfrm>
            <a:off x="2796926" y="2080767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9" name="Rectangle 20"/>
          <p:cNvSpPr>
            <a:spLocks noChangeArrowheads="1"/>
          </p:cNvSpPr>
          <p:nvPr/>
        </p:nvSpPr>
        <p:spPr bwMode="auto">
          <a:xfrm>
            <a:off x="367333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0" name="Rectangle 70"/>
          <p:cNvSpPr>
            <a:spLocks noChangeArrowheads="1"/>
          </p:cNvSpPr>
          <p:nvPr/>
        </p:nvSpPr>
        <p:spPr bwMode="auto">
          <a:xfrm>
            <a:off x="4549751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1" name="Rectangle 20"/>
          <p:cNvSpPr>
            <a:spLocks noChangeArrowheads="1"/>
          </p:cNvSpPr>
          <p:nvPr/>
        </p:nvSpPr>
        <p:spPr bwMode="auto">
          <a:xfrm>
            <a:off x="542616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2" name="Rectangle 70"/>
          <p:cNvSpPr>
            <a:spLocks noChangeArrowheads="1"/>
          </p:cNvSpPr>
          <p:nvPr/>
        </p:nvSpPr>
        <p:spPr bwMode="auto">
          <a:xfrm>
            <a:off x="6302576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3" name="Rectangle 20"/>
          <p:cNvSpPr>
            <a:spLocks noChangeArrowheads="1"/>
          </p:cNvSpPr>
          <p:nvPr/>
        </p:nvSpPr>
        <p:spPr bwMode="auto">
          <a:xfrm>
            <a:off x="717898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4" name="Rectangle 70"/>
          <p:cNvSpPr>
            <a:spLocks noChangeArrowheads="1"/>
          </p:cNvSpPr>
          <p:nvPr/>
        </p:nvSpPr>
        <p:spPr bwMode="auto">
          <a:xfrm>
            <a:off x="8010995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5" name="Rectangle 20"/>
          <p:cNvSpPr>
            <a:spLocks noChangeArrowheads="1"/>
          </p:cNvSpPr>
          <p:nvPr/>
        </p:nvSpPr>
        <p:spPr bwMode="auto">
          <a:xfrm>
            <a:off x="893181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6" name="Rectangle 22"/>
          <p:cNvSpPr>
            <a:spLocks noChangeArrowheads="1"/>
          </p:cNvSpPr>
          <p:nvPr/>
        </p:nvSpPr>
        <p:spPr bwMode="auto">
          <a:xfrm>
            <a:off x="7178989" y="389404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06" name="AutoShape 54"/>
          <p:cNvSpPr>
            <a:spLocks noChangeArrowheads="1"/>
          </p:cNvSpPr>
          <p:nvPr/>
        </p:nvSpPr>
        <p:spPr bwMode="auto">
          <a:xfrm>
            <a:off x="3743219" y="4827548"/>
            <a:ext cx="3365893" cy="1477910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riação de Artefato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aderno de Teste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WWWWW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XXXXXXXX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senho YYYYYYYY</a:t>
            </a:r>
          </a:p>
        </p:txBody>
      </p:sp>
      <p:sp>
        <p:nvSpPr>
          <p:cNvPr id="107" name="AutoShape 54"/>
          <p:cNvSpPr>
            <a:spLocks noChangeArrowheads="1"/>
          </p:cNvSpPr>
          <p:nvPr/>
        </p:nvSpPr>
        <p:spPr bwMode="auto">
          <a:xfrm>
            <a:off x="-89141" y="2737552"/>
            <a:ext cx="1780576" cy="1208661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s Grupos</a:t>
            </a:r>
          </a:p>
        </p:txBody>
      </p:sp>
      <p:sp>
        <p:nvSpPr>
          <p:cNvPr id="108" name="AutoShape 54"/>
          <p:cNvSpPr>
            <a:spLocks noChangeArrowheads="1"/>
          </p:cNvSpPr>
          <p:nvPr/>
        </p:nvSpPr>
        <p:spPr bwMode="auto">
          <a:xfrm>
            <a:off x="1723681" y="5193771"/>
            <a:ext cx="1810455" cy="1111687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Validação do Professor </a:t>
            </a:r>
            <a:r>
              <a:rPr lang="pt-BR" sz="1764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xxxx</a:t>
            </a:r>
            <a:endParaRPr lang="pt-BR" sz="1764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10" name="AutoShape 54"/>
          <p:cNvSpPr>
            <a:spLocks noChangeArrowheads="1"/>
          </p:cNvSpPr>
          <p:nvPr/>
        </p:nvSpPr>
        <p:spPr bwMode="auto">
          <a:xfrm>
            <a:off x="7223797" y="5654873"/>
            <a:ext cx="3377067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Setup XXXX do Ambiente de teste e execução da homologação da ambiente</a:t>
            </a:r>
          </a:p>
        </p:txBody>
      </p:sp>
      <p:sp>
        <p:nvSpPr>
          <p:cNvPr id="118" name="AutoShape 54"/>
          <p:cNvSpPr>
            <a:spLocks noChangeArrowheads="1"/>
          </p:cNvSpPr>
          <p:nvPr/>
        </p:nvSpPr>
        <p:spPr bwMode="auto">
          <a:xfrm>
            <a:off x="16418889" y="5790512"/>
            <a:ext cx="229875" cy="444547"/>
          </a:xfrm>
          <a:prstGeom prst="homePlate">
            <a:avLst>
              <a:gd name="adj" fmla="val 16364"/>
            </a:avLst>
          </a:prstGeom>
          <a:solidFill>
            <a:srgbClr val="006699">
              <a:lumMod val="60000"/>
              <a:lumOff val="4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vert270" anchor="ctr"/>
          <a:lstStyle/>
          <a:p>
            <a:pPr algn="ctr" defTabSz="1344259" eaLnBrk="0" hangingPunct="0">
              <a:defRPr/>
            </a:pPr>
            <a:endParaRPr lang="pt-BR" sz="1323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AutoShape 54"/>
          <p:cNvSpPr>
            <a:spLocks noChangeArrowheads="1"/>
          </p:cNvSpPr>
          <p:nvPr/>
        </p:nvSpPr>
        <p:spPr bwMode="auto">
          <a:xfrm>
            <a:off x="11187351" y="6392768"/>
            <a:ext cx="2151446" cy="962396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Inicio </a:t>
            </a:r>
            <a:r>
              <a:rPr lang="pt-BR" sz="1764" b="1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Rollout</a:t>
            </a:r>
            <a:endParaRPr lang="pt-BR" sz="1764" b="1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22" name="AutoShape 54"/>
          <p:cNvSpPr>
            <a:spLocks noChangeArrowheads="1"/>
          </p:cNvSpPr>
          <p:nvPr/>
        </p:nvSpPr>
        <p:spPr bwMode="auto">
          <a:xfrm>
            <a:off x="727573" y="3890798"/>
            <a:ext cx="1693147" cy="1047600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 Tema </a:t>
            </a:r>
            <a:r>
              <a:rPr lang="pt-BR" sz="1764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xxx</a:t>
            </a:r>
            <a:endParaRPr lang="pt-BR" sz="1764" kern="0" dirty="0">
              <a:solidFill>
                <a:srgbClr val="000000"/>
              </a:solidFill>
              <a:latin typeface="Arial"/>
              <a:cs typeface="Calibri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97804" y="2332557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5" name="CaixaDeTexto 124"/>
          <p:cNvSpPr txBox="1"/>
          <p:nvPr/>
        </p:nvSpPr>
        <p:spPr>
          <a:xfrm>
            <a:off x="9002471" y="5168354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6" name="CaixaDeTexto 125"/>
          <p:cNvSpPr txBox="1"/>
          <p:nvPr/>
        </p:nvSpPr>
        <p:spPr>
          <a:xfrm>
            <a:off x="2076687" y="4635522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7" name="Estrela de 5 Pontas 6"/>
          <p:cNvSpPr/>
          <p:nvPr/>
        </p:nvSpPr>
        <p:spPr>
          <a:xfrm>
            <a:off x="10610308" y="5785542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8" name="Texto Explicativo Retangular 7"/>
          <p:cNvSpPr/>
          <p:nvPr/>
        </p:nvSpPr>
        <p:spPr>
          <a:xfrm>
            <a:off x="11065441" y="2900210"/>
            <a:ext cx="2445102" cy="1895515"/>
          </a:xfrm>
          <a:prstGeom prst="wedgeRectCallout">
            <a:avLst>
              <a:gd name="adj1" fmla="val -50624"/>
              <a:gd name="adj2" fmla="val 10044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ção dos resultados dos testes com acordo de todos os envolvidos XXXX  </a:t>
            </a:r>
          </a:p>
        </p:txBody>
      </p:sp>
      <p:sp>
        <p:nvSpPr>
          <p:cNvPr id="131" name="AutoShape 54"/>
          <p:cNvSpPr>
            <a:spLocks noChangeArrowheads="1"/>
          </p:cNvSpPr>
          <p:nvPr/>
        </p:nvSpPr>
        <p:spPr bwMode="auto">
          <a:xfrm>
            <a:off x="10639680" y="1459955"/>
            <a:ext cx="2685218" cy="63203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4</a:t>
            </a:r>
          </a:p>
        </p:txBody>
      </p:sp>
      <p:sp>
        <p:nvSpPr>
          <p:cNvPr id="124" name="AutoShape 54"/>
          <p:cNvSpPr>
            <a:spLocks noChangeArrowheads="1"/>
          </p:cNvSpPr>
          <p:nvPr/>
        </p:nvSpPr>
        <p:spPr bwMode="auto">
          <a:xfrm>
            <a:off x="7065000" y="1453832"/>
            <a:ext cx="3739127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3</a:t>
            </a:r>
          </a:p>
        </p:txBody>
      </p:sp>
      <p:sp>
        <p:nvSpPr>
          <p:cNvPr id="105" name="AutoShape 54"/>
          <p:cNvSpPr>
            <a:spLocks noChangeArrowheads="1"/>
          </p:cNvSpPr>
          <p:nvPr/>
        </p:nvSpPr>
        <p:spPr bwMode="auto">
          <a:xfrm>
            <a:off x="3648268" y="1453832"/>
            <a:ext cx="3575528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2</a:t>
            </a:r>
          </a:p>
        </p:txBody>
      </p:sp>
      <p:sp>
        <p:nvSpPr>
          <p:cNvPr id="104" name="AutoShape 54"/>
          <p:cNvSpPr>
            <a:spLocks noChangeArrowheads="1"/>
          </p:cNvSpPr>
          <p:nvPr/>
        </p:nvSpPr>
        <p:spPr bwMode="auto">
          <a:xfrm>
            <a:off x="167689" y="1454616"/>
            <a:ext cx="3671172" cy="6451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1</a:t>
            </a:r>
          </a:p>
        </p:txBody>
      </p:sp>
      <p:sp>
        <p:nvSpPr>
          <p:cNvPr id="9" name="Elipse 8"/>
          <p:cNvSpPr/>
          <p:nvPr/>
        </p:nvSpPr>
        <p:spPr>
          <a:xfrm>
            <a:off x="596716" y="2707507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4" name="Elipse 133"/>
          <p:cNvSpPr/>
          <p:nvPr/>
        </p:nvSpPr>
        <p:spPr>
          <a:xfrm>
            <a:off x="1369269" y="3804783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5" name="Elipse 134"/>
          <p:cNvSpPr/>
          <p:nvPr/>
        </p:nvSpPr>
        <p:spPr>
          <a:xfrm>
            <a:off x="2346513" y="4999650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2" name="AutoShape 54">
            <a:extLst>
              <a:ext uri="{FF2B5EF4-FFF2-40B4-BE49-F238E27FC236}">
                <a16:creationId xmlns="" xmlns:a16="http://schemas.microsoft.com/office/drawing/2014/main" id="{E9E56096-A37E-4E04-B585-F38CE69E2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797" y="4495376"/>
            <a:ext cx="1838374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Desenv</a:t>
            </a: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 da Aplicação XPTO</a:t>
            </a:r>
          </a:p>
        </p:txBody>
      </p:sp>
      <p:sp>
        <p:nvSpPr>
          <p:cNvPr id="3" name="Estrela de 5 Pontas 6">
            <a:extLst>
              <a:ext uri="{FF2B5EF4-FFF2-40B4-BE49-F238E27FC236}">
                <a16:creationId xmlns="" xmlns:a16="http://schemas.microsoft.com/office/drawing/2014/main" id="{AD16236F-7568-4F98-A604-6EC65AD0D66C}"/>
              </a:ext>
            </a:extLst>
          </p:cNvPr>
          <p:cNvSpPr/>
          <p:nvPr/>
        </p:nvSpPr>
        <p:spPr>
          <a:xfrm>
            <a:off x="9106979" y="4586208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5" name="Texto Explicativo Retangular 7">
            <a:extLst>
              <a:ext uri="{FF2B5EF4-FFF2-40B4-BE49-F238E27FC236}">
                <a16:creationId xmlns="" xmlns:a16="http://schemas.microsoft.com/office/drawing/2014/main" id="{A7519FE8-CE66-44F1-85D2-72BA40AEFFE9}"/>
              </a:ext>
            </a:extLst>
          </p:cNvPr>
          <p:cNvSpPr/>
          <p:nvPr/>
        </p:nvSpPr>
        <p:spPr>
          <a:xfrm>
            <a:off x="8055403" y="2738144"/>
            <a:ext cx="2445102" cy="709690"/>
          </a:xfrm>
          <a:prstGeom prst="wedgeRectCallout">
            <a:avLst>
              <a:gd name="adj1" fmla="val 2037"/>
              <a:gd name="adj2" fmla="val 17818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</a:t>
            </a:r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 ambiente de teste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="" xmlns:a16="http://schemas.microsoft.com/office/drawing/2014/main" id="{DF44FE3B-8CD1-4551-B052-AB416A48BF0F}"/>
              </a:ext>
            </a:extLst>
          </p:cNvPr>
          <p:cNvSpPr txBox="1"/>
          <p:nvPr/>
        </p:nvSpPr>
        <p:spPr>
          <a:xfrm>
            <a:off x="1102263" y="33920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="" xmlns:a16="http://schemas.microsoft.com/office/drawing/2014/main" id="{11EF466B-D50F-49BE-8901-F4314447EC7A}"/>
              </a:ext>
            </a:extLst>
          </p:cNvPr>
          <p:cNvSpPr txBox="1"/>
          <p:nvPr/>
        </p:nvSpPr>
        <p:spPr>
          <a:xfrm>
            <a:off x="10453916" y="6540130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="" xmlns:a16="http://schemas.microsoft.com/office/drawing/2014/main" id="{11F63061-82C5-4CBE-AF39-7668F95413AC}"/>
              </a:ext>
            </a:extLst>
          </p:cNvPr>
          <p:cNvSpPr txBox="1"/>
          <p:nvPr/>
        </p:nvSpPr>
        <p:spPr>
          <a:xfrm>
            <a:off x="4524581" y="38425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3" name="Estrela de 5 Pontas 6">
            <a:extLst>
              <a:ext uri="{FF2B5EF4-FFF2-40B4-BE49-F238E27FC236}">
                <a16:creationId xmlns="" xmlns:a16="http://schemas.microsoft.com/office/drawing/2014/main" id="{AD22261C-D7D8-4F88-A384-FA0A3A6B653B}"/>
              </a:ext>
            </a:extLst>
          </p:cNvPr>
          <p:cNvSpPr/>
          <p:nvPr/>
        </p:nvSpPr>
        <p:spPr>
          <a:xfrm>
            <a:off x="4629088" y="3260383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4" name="AutoShape 54">
            <a:extLst>
              <a:ext uri="{FF2B5EF4-FFF2-40B4-BE49-F238E27FC236}">
                <a16:creationId xmlns="" xmlns:a16="http://schemas.microsoft.com/office/drawing/2014/main" id="{50F5334B-AE01-42AE-9885-3F4B46D4D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88" y="807671"/>
            <a:ext cx="13101230" cy="5879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print 1</a:t>
            </a:r>
          </a:p>
        </p:txBody>
      </p:sp>
    </p:spTree>
    <p:extLst>
      <p:ext uri="{BB962C8B-B14F-4D97-AF65-F5344CB8AC3E}">
        <p14:creationId xmlns:p14="http://schemas.microsoft.com/office/powerpoint/2010/main" val="3103146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1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=""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1586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2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=""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642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XbLZbtwE2_jMKq0Eee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6Y2n3A0O6aRqeB2QZ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ZQjMLDE.cpcKHQ3Y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ciZmaYEeWJZf4ijlc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est">
    <a:dk1>
      <a:sysClr val="windowText" lastClr="000000"/>
    </a:dk1>
    <a:lt1>
      <a:sysClr val="window" lastClr="FFFFFF"/>
    </a:lt1>
    <a:dk2>
      <a:srgbClr val="253746"/>
    </a:dk2>
    <a:lt2>
      <a:srgbClr val="EEECE1"/>
    </a:lt2>
    <a:accent1>
      <a:srgbClr val="32B9CD"/>
    </a:accent1>
    <a:accent2>
      <a:srgbClr val="CE0F69"/>
    </a:accent2>
    <a:accent3>
      <a:srgbClr val="9BBB59"/>
    </a:accent3>
    <a:accent4>
      <a:srgbClr val="292C34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_Collaboration_Space_Locked xmlns="bbcd8c33-6940-4d4c-a587-bbc736ca1e4d" xsi:nil="true"/>
    <TeamsChannelId xmlns="bbcd8c33-6940-4d4c-a587-bbc736ca1e4d" xsi:nil="true"/>
    <Self_Registration_Enabled xmlns="bbcd8c33-6940-4d4c-a587-bbc736ca1e4d" xsi:nil="true"/>
    <Math_Settings xmlns="bbcd8c33-6940-4d4c-a587-bbc736ca1e4d" xsi:nil="true"/>
    <AppVersion xmlns="bbcd8c33-6940-4d4c-a587-bbc736ca1e4d" xsi:nil="true"/>
    <Invited_Teachers xmlns="bbcd8c33-6940-4d4c-a587-bbc736ca1e4d" xsi:nil="true"/>
    <LMS_Mappings xmlns="bbcd8c33-6940-4d4c-a587-bbc736ca1e4d" xsi:nil="true"/>
    <IsNotebookLocked xmlns="bbcd8c33-6940-4d4c-a587-bbc736ca1e4d" xsi:nil="true"/>
    <NotebookType xmlns="bbcd8c33-6940-4d4c-a587-bbc736ca1e4d" xsi:nil="true"/>
    <Templates xmlns="bbcd8c33-6940-4d4c-a587-bbc736ca1e4d" xsi:nil="true"/>
    <Owner xmlns="bbcd8c33-6940-4d4c-a587-bbc736ca1e4d">
      <UserInfo>
        <DisplayName/>
        <AccountId xsi:nil="true"/>
        <AccountType/>
      </UserInfo>
    </Owner>
    <Teachers xmlns="bbcd8c33-6940-4d4c-a587-bbc736ca1e4d">
      <UserInfo>
        <DisplayName/>
        <AccountId xsi:nil="true"/>
        <AccountType/>
      </UserInfo>
    </Teachers>
    <Students xmlns="bbcd8c33-6940-4d4c-a587-bbc736ca1e4d">
      <UserInfo>
        <DisplayName/>
        <AccountId xsi:nil="true"/>
        <AccountType/>
      </UserInfo>
    </Students>
    <Student_Groups xmlns="bbcd8c33-6940-4d4c-a587-bbc736ca1e4d">
      <UserInfo>
        <DisplayName/>
        <AccountId xsi:nil="true"/>
        <AccountType/>
      </UserInfo>
    </Student_Groups>
    <Distribution_Groups xmlns="bbcd8c33-6940-4d4c-a587-bbc736ca1e4d" xsi:nil="true"/>
    <Self_Registration_Enabled0 xmlns="bbcd8c33-6940-4d4c-a587-bbc736ca1e4d" xsi:nil="true"/>
    <Has_Teacher_Only_SectionGroup xmlns="bbcd8c33-6940-4d4c-a587-bbc736ca1e4d" xsi:nil="true"/>
    <DefaultSectionNames xmlns="bbcd8c33-6940-4d4c-a587-bbc736ca1e4d" xsi:nil="true"/>
    <Invited_Students xmlns="bbcd8c33-6940-4d4c-a587-bbc736ca1e4d" xsi:nil="true"/>
    <FolderType xmlns="bbcd8c33-6940-4d4c-a587-bbc736ca1e4d" xsi:nil="true"/>
    <CultureName xmlns="bbcd8c33-6940-4d4c-a587-bbc736ca1e4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32905C37EA9847A7207C4BBCCCD8F4" ma:contentTypeVersion="34" ma:contentTypeDescription="Create a new document." ma:contentTypeScope="" ma:versionID="2f28daba72ca6e92be87ea70ebe5bb94">
  <xsd:schema xmlns:xsd="http://www.w3.org/2001/XMLSchema" xmlns:xs="http://www.w3.org/2001/XMLSchema" xmlns:p="http://schemas.microsoft.com/office/2006/metadata/properties" xmlns:ns3="4327b14a-fe89-488e-9f6d-9658cacf372b" xmlns:ns4="bbcd8c33-6940-4d4c-a587-bbc736ca1e4d" targetNamespace="http://schemas.microsoft.com/office/2006/metadata/properties" ma:root="true" ma:fieldsID="df18e839ce2650f1975b41376e6cdb6b" ns3:_="" ns4:_="">
    <xsd:import namespace="4327b14a-fe89-488e-9f6d-9658cacf372b"/>
    <xsd:import namespace="bbcd8c33-6940-4d4c-a587-bbc736ca1e4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NotebookType" minOccurs="0"/>
                <xsd:element ref="ns4:FolderType" minOccurs="0"/>
                <xsd:element ref="ns4:Owner" minOccurs="0"/>
                <xsd:element ref="ns4:DefaultSectionNames" minOccurs="0"/>
                <xsd:element ref="ns4:AppVersion" minOccurs="0"/>
                <xsd:element ref="ns4:Teachers" minOccurs="0"/>
                <xsd:element ref="ns4:Students" minOccurs="0"/>
                <xsd:element ref="ns4:Student_Groups" minOccurs="0"/>
                <xsd:element ref="ns4:Invited_Teachers" minOccurs="0"/>
                <xsd:element ref="ns4:Invited_Students" minOccurs="0"/>
                <xsd:element ref="ns4:Self_Registration_Enabled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  <xsd:element ref="ns4:CultureName" minOccurs="0"/>
                <xsd:element ref="ns4:TeamsChannelId" minOccurs="0"/>
                <xsd:element ref="ns4:Math_Settings" minOccurs="0"/>
                <xsd:element ref="ns4:Templates" minOccurs="0"/>
                <xsd:element ref="ns4:Distribution_Groups" minOccurs="0"/>
                <xsd:element ref="ns4:LMS_Mappings" minOccurs="0"/>
                <xsd:element ref="ns4:Self_Registration_Enabled0" minOccurs="0"/>
                <xsd:element ref="ns4:Has_Teacher_Only_SectionGroup" minOccurs="0"/>
                <xsd:element ref="ns4:Is_Collaboration_Space_Locked" minOccurs="0"/>
                <xsd:element ref="ns4:IsNotebookLocked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7b14a-fe89-488e-9f6d-9658cacf37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d8c33-6940-4d4c-a587-bbc736ca1e4d" elementFormDefault="qualified">
    <xsd:import namespace="http://schemas.microsoft.com/office/2006/documentManagement/types"/>
    <xsd:import namespace="http://schemas.microsoft.com/office/infopath/2007/PartnerControls"/>
    <xsd:element name="NotebookType" ma:index="11" nillable="true" ma:displayName="Notebook Type" ma:internalName="NotebookType">
      <xsd:simpleType>
        <xsd:restriction base="dms:Text"/>
      </xsd:simpleType>
    </xsd:element>
    <xsd:element name="FolderType" ma:index="12" nillable="true" ma:displayName="Folder Type" ma:internalName="FolderType">
      <xsd:simpleType>
        <xsd:restriction base="dms:Text"/>
      </xsd:simpleType>
    </xsd:element>
    <xsd:element name="Owner" ma:index="13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14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AppVersion" ma:index="15" nillable="true" ma:displayName="App Version" ma:internalName="AppVersion">
      <xsd:simpleType>
        <xsd:restriction base="dms:Text"/>
      </xsd:simpleType>
    </xsd:element>
    <xsd:element name="Teachers" ma:index="16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17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18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19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20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21" nillable="true" ma:displayName="Self_Registration_Enabled" ma:internalName="Self_Registration_Enabled">
      <xsd:simpleType>
        <xsd:restriction base="dms:Boolean"/>
      </xsd:simpleType>
    </xsd:element>
    <xsd:element name="MediaServiceMetadata" ma:index="2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2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9" nillable="true" ma:displayName="Location" ma:internalName="MediaServiceLocation" ma:readOnly="true">
      <xsd:simpleType>
        <xsd:restriction base="dms:Text"/>
      </xsd:simpleType>
    </xsd:element>
    <xsd:element name="CultureName" ma:index="30" nillable="true" ma:displayName="Culture Name" ma:internalName="CultureName">
      <xsd:simpleType>
        <xsd:restriction base="dms:Text"/>
      </xsd:simpleType>
    </xsd:element>
    <xsd:element name="TeamsChannelId" ma:index="31" nillable="true" ma:displayName="Teams Channel Id" ma:internalName="TeamsChannelId">
      <xsd:simpleType>
        <xsd:restriction base="dms:Text"/>
      </xsd:simpleType>
    </xsd:element>
    <xsd:element name="Math_Settings" ma:index="32" nillable="true" ma:displayName="Math Settings" ma:internalName="Math_Settings">
      <xsd:simpleType>
        <xsd:restriction base="dms:Text"/>
      </xsd:simpleType>
    </xsd:element>
    <xsd:element name="Templates" ma:index="33" nillable="true" ma:displayName="Templates" ma:internalName="Templates">
      <xsd:simpleType>
        <xsd:restriction base="dms:Note">
          <xsd:maxLength value="255"/>
        </xsd:restriction>
      </xsd:simpleType>
    </xsd:element>
    <xsd:element name="Distribution_Groups" ma:index="34" nillable="true" ma:displayName="Distribution Groups" ma:internalName="Distribution_Groups">
      <xsd:simpleType>
        <xsd:restriction base="dms:Note">
          <xsd:maxLength value="255"/>
        </xsd:restriction>
      </xsd:simpleType>
    </xsd:element>
    <xsd:element name="LMS_Mappings" ma:index="35" nillable="true" ma:displayName="LMS Mappings" ma:internalName="LMS_Mappings">
      <xsd:simpleType>
        <xsd:restriction base="dms:Note">
          <xsd:maxLength value="255"/>
        </xsd:restriction>
      </xsd:simpleType>
    </xsd:element>
    <xsd:element name="Self_Registration_Enabled0" ma:index="36" nillable="true" ma:displayName="Self Registration Enabled" ma:internalName="Self_Registration_Enabled0">
      <xsd:simpleType>
        <xsd:restriction base="dms:Boolean"/>
      </xsd:simpleType>
    </xsd:element>
    <xsd:element name="Has_Teacher_Only_SectionGroup" ma:index="37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38" nillable="true" ma:displayName="Is Collaboration Space Locked" ma:internalName="Is_Collaboration_Space_Locked">
      <xsd:simpleType>
        <xsd:restriction base="dms:Boolean"/>
      </xsd:simpleType>
    </xsd:element>
    <xsd:element name="IsNotebookLocked" ma:index="39" nillable="true" ma:displayName="Is Notebook Locked" ma:internalName="IsNotebookLocked">
      <xsd:simpleType>
        <xsd:restriction base="dms:Boolean"/>
      </xsd:simpleType>
    </xsd:element>
    <xsd:element name="MediaServiceAutoKeyPoints" ma:index="4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31267F-D399-4A8A-87F8-B75F56828412}">
  <ds:schemaRefs>
    <ds:schemaRef ds:uri="4327b14a-fe89-488e-9f6d-9658cacf372b"/>
    <ds:schemaRef ds:uri="http://purl.org/dc/terms/"/>
    <ds:schemaRef ds:uri="bbcd8c33-6940-4d4c-a587-bbc736ca1e4d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2481852-F24E-4532-AF30-C154D705D1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E6CAF6-1F55-4A70-B10C-21633F7498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27b14a-fe89-488e-9f6d-9658cacf372b"/>
    <ds:schemaRef ds:uri="bbcd8c33-6940-4d4c-a587-bbc736ca1e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32</TotalTime>
  <Words>366</Words>
  <Application>Microsoft Office PowerPoint</Application>
  <PresentationFormat>Personalizar</PresentationFormat>
  <Paragraphs>115</Paragraphs>
  <Slides>8</Slides>
  <Notes>4</Notes>
  <HiddenSlides>2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24" baseType="lpstr">
      <vt:lpstr>ＭＳ Ｐゴシック</vt:lpstr>
      <vt:lpstr>Arial</vt:lpstr>
      <vt:lpstr>Calibri</vt:lpstr>
      <vt:lpstr>Exo 2</vt:lpstr>
      <vt:lpstr>Lucida Sans Unicode</vt:lpstr>
      <vt:lpstr>Simplon BP</vt:lpstr>
      <vt:lpstr>Simplon BP Bold</vt:lpstr>
      <vt:lpstr>Simplon BP Regular</vt:lpstr>
      <vt:lpstr>Simplon Oi Headline</vt:lpstr>
      <vt:lpstr>Tahoma</vt:lpstr>
      <vt:lpstr>Verdana</vt:lpstr>
      <vt:lpstr>Wingdings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Status geral – GOTravel!</vt:lpstr>
      <vt:lpstr>Apresentação do PowerPoint</vt:lpstr>
      <vt:lpstr>Apresentação do PowerPoint</vt:lpstr>
      <vt:lpstr>Exemplo 2 de Timeline para o projeto por semana</vt:lpstr>
      <vt:lpstr>Ex. ArquiteturaV1</vt:lpstr>
      <vt:lpstr>Ex. ArquiteturaV2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Christofer</cp:lastModifiedBy>
  <cp:revision>357</cp:revision>
  <cp:lastPrinted>2018-08-30T22:45:44Z</cp:lastPrinted>
  <dcterms:created xsi:type="dcterms:W3CDTF">2016-12-01T16:19:35Z</dcterms:created>
  <dcterms:modified xsi:type="dcterms:W3CDTF">2020-09-28T22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32905C37EA9847A7207C4BBCCCD8F4</vt:lpwstr>
  </property>
</Properties>
</file>